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7"/>
  </p:notesMasterIdLst>
  <p:sldIdLst>
    <p:sldId id="630" r:id="rId6"/>
    <p:sldId id="660" r:id="rId7"/>
    <p:sldId id="627" r:id="rId8"/>
    <p:sldId id="605" r:id="rId9"/>
    <p:sldId id="631" r:id="rId10"/>
    <p:sldId id="647" r:id="rId11"/>
    <p:sldId id="648" r:id="rId12"/>
    <p:sldId id="649" r:id="rId13"/>
    <p:sldId id="650" r:id="rId14"/>
    <p:sldId id="634" r:id="rId15"/>
    <p:sldId id="661" r:id="rId16"/>
    <p:sldId id="636" r:id="rId17"/>
    <p:sldId id="651" r:id="rId18"/>
    <p:sldId id="640" r:id="rId19"/>
    <p:sldId id="643" r:id="rId20"/>
    <p:sldId id="644" r:id="rId21"/>
    <p:sldId id="646" r:id="rId22"/>
    <p:sldId id="530" r:id="rId23"/>
    <p:sldId id="582" r:id="rId24"/>
    <p:sldId id="584" r:id="rId25"/>
    <p:sldId id="585" r:id="rId26"/>
    <p:sldId id="583" r:id="rId27"/>
    <p:sldId id="586" r:id="rId28"/>
    <p:sldId id="601" r:id="rId29"/>
    <p:sldId id="653" r:id="rId30"/>
    <p:sldId id="662" r:id="rId31"/>
    <p:sldId id="541" r:id="rId32"/>
    <p:sldId id="552" r:id="rId33"/>
    <p:sldId id="558" r:id="rId34"/>
    <p:sldId id="553" r:id="rId35"/>
    <p:sldId id="560" r:id="rId36"/>
    <p:sldId id="556" r:id="rId37"/>
    <p:sldId id="654" r:id="rId38"/>
    <p:sldId id="655" r:id="rId39"/>
    <p:sldId id="656" r:id="rId40"/>
    <p:sldId id="568" r:id="rId41"/>
    <p:sldId id="657" r:id="rId42"/>
    <p:sldId id="570" r:id="rId43"/>
    <p:sldId id="564" r:id="rId44"/>
    <p:sldId id="571" r:id="rId45"/>
    <p:sldId id="572" r:id="rId46"/>
    <p:sldId id="573" r:id="rId47"/>
    <p:sldId id="574" r:id="rId48"/>
    <p:sldId id="645" r:id="rId49"/>
    <p:sldId id="658" r:id="rId50"/>
    <p:sldId id="663" r:id="rId51"/>
    <p:sldId id="664" r:id="rId52"/>
    <p:sldId id="666" r:id="rId53"/>
    <p:sldId id="667" r:id="rId54"/>
    <p:sldId id="668" r:id="rId55"/>
    <p:sldId id="625" r:id="rId56"/>
  </p:sldIdLst>
  <p:sldSz cx="9144000" cy="5143500" type="screen16x9"/>
  <p:notesSz cx="6858000" cy="91440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630"/>
            <p14:sldId id="660"/>
            <p14:sldId id="627"/>
            <p14:sldId id="605"/>
            <p14:sldId id="631"/>
            <p14:sldId id="647"/>
            <p14:sldId id="648"/>
            <p14:sldId id="649"/>
            <p14:sldId id="650"/>
            <p14:sldId id="634"/>
            <p14:sldId id="661"/>
            <p14:sldId id="636"/>
            <p14:sldId id="651"/>
            <p14:sldId id="640"/>
            <p14:sldId id="643"/>
            <p14:sldId id="644"/>
            <p14:sldId id="646"/>
            <p14:sldId id="530"/>
            <p14:sldId id="582"/>
            <p14:sldId id="584"/>
            <p14:sldId id="585"/>
            <p14:sldId id="583"/>
            <p14:sldId id="586"/>
            <p14:sldId id="601"/>
            <p14:sldId id="653"/>
            <p14:sldId id="662"/>
            <p14:sldId id="541"/>
            <p14:sldId id="552"/>
            <p14:sldId id="558"/>
            <p14:sldId id="553"/>
            <p14:sldId id="560"/>
            <p14:sldId id="556"/>
            <p14:sldId id="654"/>
            <p14:sldId id="655"/>
            <p14:sldId id="656"/>
            <p14:sldId id="568"/>
            <p14:sldId id="657"/>
            <p14:sldId id="570"/>
            <p14:sldId id="564"/>
            <p14:sldId id="571"/>
            <p14:sldId id="572"/>
            <p14:sldId id="573"/>
            <p14:sldId id="574"/>
            <p14:sldId id="645"/>
            <p14:sldId id="658"/>
            <p14:sldId id="663"/>
            <p14:sldId id="664"/>
            <p14:sldId id="666"/>
            <p14:sldId id="667"/>
            <p14:sldId id="668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FFFF"/>
    <a:srgbClr val="290042"/>
    <a:srgbClr val="0A5DB1"/>
    <a:srgbClr val="FF8AD8"/>
    <a:srgbClr val="FF85FF"/>
    <a:srgbClr val="D883FF"/>
    <a:srgbClr val="7A81FF"/>
    <a:srgbClr val="76D6FF"/>
    <a:srgbClr val="73FD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261" autoAdjust="0"/>
    <p:restoredTop sz="94802"/>
  </p:normalViewPr>
  <p:slideViewPr>
    <p:cSldViewPr showGuides="1">
      <p:cViewPr varScale="1">
        <p:scale>
          <a:sx n="157" d="100"/>
          <a:sy n="157" d="100"/>
        </p:scale>
        <p:origin x="176" y="808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endParaRPr lang="en-GB" sz="1800" dirty="0">
            <a:effectLst/>
          </a:endParaRP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endParaRPr lang="en-GB" sz="1800" dirty="0">
            <a:effectLst/>
          </a:endParaRP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1374678" y="0"/>
          <a:ext cx="1139076" cy="534411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/>
        </a:p>
      </dsp:txBody>
      <dsp:txXfrm>
        <a:off x="1374678" y="0"/>
        <a:ext cx="1139076" cy="534411"/>
      </dsp:txXfrm>
    </dsp:sp>
    <dsp:sp modelId="{E914AC51-8F15-D249-9A80-08972B149F11}">
      <dsp:nvSpPr>
        <dsp:cNvPr id="0" name=""/>
        <dsp:cNvSpPr/>
      </dsp:nvSpPr>
      <dsp:spPr>
        <a:xfrm>
          <a:off x="1021451" y="534411"/>
          <a:ext cx="1845529" cy="331441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</dsp:txBody>
      <dsp:txXfrm>
        <a:off x="1344419" y="534411"/>
        <a:ext cx="1199594" cy="331441"/>
      </dsp:txXfrm>
    </dsp:sp>
    <dsp:sp modelId="{403E5BF1-1C5B-FB4F-B99F-D866935E78A8}">
      <dsp:nvSpPr>
        <dsp:cNvPr id="0" name=""/>
        <dsp:cNvSpPr/>
      </dsp:nvSpPr>
      <dsp:spPr>
        <a:xfrm>
          <a:off x="622981" y="865853"/>
          <a:ext cx="2642469" cy="373894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1085413" y="865853"/>
        <a:ext cx="1717605" cy="373894"/>
      </dsp:txXfrm>
    </dsp:sp>
    <dsp:sp modelId="{5DE7DC48-15D3-6249-8492-4E058DC9C4A8}">
      <dsp:nvSpPr>
        <dsp:cNvPr id="0" name=""/>
        <dsp:cNvSpPr/>
      </dsp:nvSpPr>
      <dsp:spPr>
        <a:xfrm>
          <a:off x="0" y="1239747"/>
          <a:ext cx="3888432" cy="584559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680475" y="1239747"/>
        <a:ext cx="2527481" cy="58455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1374678" y="0"/>
          <a:ext cx="1139076" cy="534411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/>
        </a:p>
      </dsp:txBody>
      <dsp:txXfrm>
        <a:off x="1374678" y="0"/>
        <a:ext cx="1139076" cy="534411"/>
      </dsp:txXfrm>
    </dsp:sp>
    <dsp:sp modelId="{E914AC51-8F15-D249-9A80-08972B149F11}">
      <dsp:nvSpPr>
        <dsp:cNvPr id="0" name=""/>
        <dsp:cNvSpPr/>
      </dsp:nvSpPr>
      <dsp:spPr>
        <a:xfrm>
          <a:off x="1021451" y="534411"/>
          <a:ext cx="1845529" cy="331441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</dsp:txBody>
      <dsp:txXfrm>
        <a:off x="1344419" y="534411"/>
        <a:ext cx="1199594" cy="331441"/>
      </dsp:txXfrm>
    </dsp:sp>
    <dsp:sp modelId="{403E5BF1-1C5B-FB4F-B99F-D866935E78A8}">
      <dsp:nvSpPr>
        <dsp:cNvPr id="0" name=""/>
        <dsp:cNvSpPr/>
      </dsp:nvSpPr>
      <dsp:spPr>
        <a:xfrm>
          <a:off x="622981" y="865853"/>
          <a:ext cx="2642469" cy="373894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1085413" y="865853"/>
        <a:ext cx="1717605" cy="373894"/>
      </dsp:txXfrm>
    </dsp:sp>
    <dsp:sp modelId="{5DE7DC48-15D3-6249-8492-4E058DC9C4A8}">
      <dsp:nvSpPr>
        <dsp:cNvPr id="0" name=""/>
        <dsp:cNvSpPr/>
      </dsp:nvSpPr>
      <dsp:spPr>
        <a:xfrm>
          <a:off x="0" y="1239747"/>
          <a:ext cx="3888432" cy="584559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680475" y="1239747"/>
        <a:ext cx="2527481" cy="5845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10/19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19/10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akeameme.org/meme/memory-leaks-memory-8f1cc7495e" TargetMode="External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ngimg.com/download/50063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nc/3.0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tockphoto.com/photo/woman-working-on-vacation-gm1133651422-300958149" TargetMode="External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software-testing-service-762486/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Layout" Target="../diagrams/layout7.xml"/><Relationship Id="rId7" Type="http://schemas.openxmlformats.org/officeDocument/2006/relationships/image" Target="../media/image35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Relationship Id="rId9" Type="http://schemas.openxmlformats.org/officeDocument/2006/relationships/image" Target="../media/image29.jpe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45.jpeg"/><Relationship Id="rId4" Type="http://schemas.openxmlformats.org/officeDocument/2006/relationships/image" Target="../media/image44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35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Relationship Id="rId9" Type="http://schemas.openxmlformats.org/officeDocument/2006/relationships/image" Target="../media/image29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950955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44A908F-135C-CC5F-2138-D9D9F0A77857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279293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Accessibility tests</a:t>
            </a:r>
          </a:p>
        </p:txBody>
      </p:sp>
      <p:pic>
        <p:nvPicPr>
          <p:cNvPr id="5" name="Picture 4" descr="A person and a child using devices&#10;&#10;Description automatically generated">
            <a:extLst>
              <a:ext uri="{FF2B5EF4-FFF2-40B4-BE49-F238E27FC236}">
                <a16:creationId xmlns:a16="http://schemas.microsoft.com/office/drawing/2014/main" id="{EFD7D246-1B2B-4285-B2D3-D802AA8337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604" y="630745"/>
            <a:ext cx="3956792" cy="39567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7BFA60B-1DE8-590B-45BA-B0866584C275}"/>
              </a:ext>
            </a:extLst>
          </p:cNvPr>
          <p:cNvSpPr txBox="1"/>
          <p:nvPr/>
        </p:nvSpPr>
        <p:spPr>
          <a:xfrm>
            <a:off x="2823746" y="4424538"/>
            <a:ext cx="34905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dirty="0"/>
              <a:t>Image by vectorjuice on Freepik</a:t>
            </a:r>
          </a:p>
        </p:txBody>
      </p:sp>
    </p:spTree>
    <p:extLst>
      <p:ext uri="{BB962C8B-B14F-4D97-AF65-F5344CB8AC3E}">
        <p14:creationId xmlns:p14="http://schemas.microsoft.com/office/powerpoint/2010/main" val="1025925415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Performance tests</a:t>
            </a:r>
          </a:p>
        </p:txBody>
      </p:sp>
      <p:pic>
        <p:nvPicPr>
          <p:cNvPr id="29" name="Picture 28" descr="A tablet with a clock and a rocket&#10;&#10;Description automatically generated">
            <a:extLst>
              <a:ext uri="{FF2B5EF4-FFF2-40B4-BE49-F238E27FC236}">
                <a16:creationId xmlns:a16="http://schemas.microsoft.com/office/drawing/2014/main" id="{A1CD7617-CF49-D8F1-9E66-4AB479EBB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113" y="925835"/>
            <a:ext cx="3291830" cy="329183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C60C5EE-5D8C-4BD1-CA3C-5FCE9597845B}"/>
              </a:ext>
            </a:extLst>
          </p:cNvPr>
          <p:cNvSpPr txBox="1"/>
          <p:nvPr/>
        </p:nvSpPr>
        <p:spPr>
          <a:xfrm>
            <a:off x="2848478" y="4032999"/>
            <a:ext cx="34411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dirty="0"/>
              <a:t>Image by vectorjuice on Freepik</a:t>
            </a:r>
          </a:p>
        </p:txBody>
      </p:sp>
    </p:spTree>
    <p:extLst>
      <p:ext uri="{BB962C8B-B14F-4D97-AF65-F5344CB8AC3E}">
        <p14:creationId xmlns:p14="http://schemas.microsoft.com/office/powerpoint/2010/main" val="58266097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utation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388BED-7EA8-491D-3CE1-44A208DF18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201"/>
          <a:stretch/>
        </p:blipFill>
        <p:spPr>
          <a:xfrm>
            <a:off x="1547521" y="627534"/>
            <a:ext cx="6048957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931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emory leakage tests</a:t>
            </a:r>
          </a:p>
        </p:txBody>
      </p:sp>
      <p:pic>
        <p:nvPicPr>
          <p:cNvPr id="13" name="Picture 12" descr="A toy story character next to another toy&#10;&#10;Description automatically generated">
            <a:extLst>
              <a:ext uri="{FF2B5EF4-FFF2-40B4-BE49-F238E27FC236}">
                <a16:creationId xmlns:a16="http://schemas.microsoft.com/office/drawing/2014/main" id="{C4E46DC0-E105-B529-12C8-3BA1F3A92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91022" y="1015159"/>
            <a:ext cx="6961956" cy="379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12748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napshot tests</a:t>
            </a:r>
          </a:p>
        </p:txBody>
      </p:sp>
      <p:pic>
        <p:nvPicPr>
          <p:cNvPr id="1026" name="Picture 2" descr="SnapDragon® - New York Apple Association">
            <a:extLst>
              <a:ext uri="{FF2B5EF4-FFF2-40B4-BE49-F238E27FC236}">
                <a16:creationId xmlns:a16="http://schemas.microsoft.com/office/drawing/2014/main" id="{87F39CBD-DBBE-B1E7-1779-9D6113066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38" y="820658"/>
            <a:ext cx="2583243" cy="2033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apDragon® - New York Apple Association">
            <a:extLst>
              <a:ext uri="{FF2B5EF4-FFF2-40B4-BE49-F238E27FC236}">
                <a16:creationId xmlns:a16="http://schemas.microsoft.com/office/drawing/2014/main" id="{9E6D2438-0613-517C-83AC-CD76E07EB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53" y="3003798"/>
            <a:ext cx="2718214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pple premium imported – Subzfresh">
            <a:extLst>
              <a:ext uri="{FF2B5EF4-FFF2-40B4-BE49-F238E27FC236}">
                <a16:creationId xmlns:a16="http://schemas.microsoft.com/office/drawing/2014/main" id="{C07B8988-273C-5985-6D2C-238EFC2F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90" y="714413"/>
            <a:ext cx="2135740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Tick with solid fill">
            <a:extLst>
              <a:ext uri="{FF2B5EF4-FFF2-40B4-BE49-F238E27FC236}">
                <a16:creationId xmlns:a16="http://schemas.microsoft.com/office/drawing/2014/main" id="{318DC722-ABA6-57D7-6928-06A8DB7B4F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1657350"/>
            <a:ext cx="914400" cy="914400"/>
          </a:xfrm>
          <a:prstGeom prst="rect">
            <a:avLst/>
          </a:prstGeom>
        </p:spPr>
      </p:pic>
      <p:pic>
        <p:nvPicPr>
          <p:cNvPr id="10" name="Graphic 9" descr="Tick with solid fill">
            <a:extLst>
              <a:ext uri="{FF2B5EF4-FFF2-40B4-BE49-F238E27FC236}">
                <a16:creationId xmlns:a16="http://schemas.microsoft.com/office/drawing/2014/main" id="{21A514C9-0AD9-76A3-BEC9-471FD4B3F8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3840490"/>
            <a:ext cx="914400" cy="914400"/>
          </a:xfrm>
          <a:prstGeom prst="rect">
            <a:avLst/>
          </a:prstGeom>
        </p:spPr>
      </p:pic>
      <p:pic>
        <p:nvPicPr>
          <p:cNvPr id="12" name="Graphic 11" descr="Close with solid fill">
            <a:extLst>
              <a:ext uri="{FF2B5EF4-FFF2-40B4-BE49-F238E27FC236}">
                <a16:creationId xmlns:a16="http://schemas.microsoft.com/office/drawing/2014/main" id="{A439DC12-72B5-ABEC-B6A4-E3B73331F6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1657350"/>
            <a:ext cx="914400" cy="914400"/>
          </a:xfrm>
          <a:prstGeom prst="rect">
            <a:avLst/>
          </a:prstGeom>
        </p:spPr>
      </p:pic>
      <p:pic>
        <p:nvPicPr>
          <p:cNvPr id="1034" name="Picture 10" descr="Granny Smith (Green) Apple - fruityland">
            <a:extLst>
              <a:ext uri="{FF2B5EF4-FFF2-40B4-BE49-F238E27FC236}">
                <a16:creationId xmlns:a16="http://schemas.microsoft.com/office/drawing/2014/main" id="{E3093CD7-CE70-7822-6EFB-17FAFEFD7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445" y="2715767"/>
            <a:ext cx="2581154" cy="22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5FC26E39-837B-9C45-9907-5B895B2C91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38404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916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ecurity tests</a:t>
            </a:r>
          </a:p>
        </p:txBody>
      </p:sp>
      <p:pic>
        <p:nvPicPr>
          <p:cNvPr id="5" name="Picture 4" descr="A person wearing a black mask holding a white sign&#10;&#10;Description automatically generated">
            <a:extLst>
              <a:ext uri="{FF2B5EF4-FFF2-40B4-BE49-F238E27FC236}">
                <a16:creationId xmlns:a16="http://schemas.microsoft.com/office/drawing/2014/main" id="{E5E7859E-BE9A-7B25-BE59-D7781EFDBE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27584" y="787865"/>
            <a:ext cx="6984776" cy="43556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838204-4A28-F6F9-1C6E-0CC78D210441}"/>
              </a:ext>
            </a:extLst>
          </p:cNvPr>
          <p:cNvSpPr txBox="1"/>
          <p:nvPr/>
        </p:nvSpPr>
        <p:spPr>
          <a:xfrm>
            <a:off x="1016797" y="8210627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900">
                <a:hlinkClick r:id="rId3" tooltip="https://pngimg.com/download/50063"/>
              </a:rPr>
              <a:t>This Photo</a:t>
            </a:r>
            <a:r>
              <a:rPr lang="en-NL" sz="900"/>
              <a:t> by Unknown Author is licensed under </a:t>
            </a:r>
            <a:r>
              <a:rPr lang="en-NL" sz="900">
                <a:hlinkClick r:id="rId4" tooltip="https://creativecommons.org/licenses/by-nc/3.0/"/>
              </a:rPr>
              <a:t>CC BY-NC</a:t>
            </a:r>
            <a:endParaRPr lang="en-NL" sz="900"/>
          </a:p>
        </p:txBody>
      </p:sp>
    </p:spTree>
    <p:extLst>
      <p:ext uri="{BB962C8B-B14F-4D97-AF65-F5344CB8AC3E}">
        <p14:creationId xmlns:p14="http://schemas.microsoft.com/office/powerpoint/2010/main" val="2954413155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Code quality tests</a:t>
            </a:r>
          </a:p>
        </p:txBody>
      </p:sp>
      <p:pic>
        <p:nvPicPr>
          <p:cNvPr id="7" name="Picture 6" descr="A person sitting in a chair with a computer&#10;&#10;Description automatically generated">
            <a:extLst>
              <a:ext uri="{FF2B5EF4-FFF2-40B4-BE49-F238E27FC236}">
                <a16:creationId xmlns:a16="http://schemas.microsoft.com/office/drawing/2014/main" id="{7A6F3E4A-A636-9097-432A-4831EF93AE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655676" y="921375"/>
            <a:ext cx="5832648" cy="387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4957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830100991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961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DF8971E-7CEB-AB50-CA53-DD4CDE104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960" y="915566"/>
            <a:ext cx="4200140" cy="3651870"/>
          </a:xfrm>
          <a:prstGeom prst="rect">
            <a:avLst/>
          </a:prstGeom>
        </p:spPr>
      </p:pic>
      <p:pic>
        <p:nvPicPr>
          <p:cNvPr id="3" name="Picture 2" descr="iDEAL - Wikipedia">
            <a:extLst>
              <a:ext uri="{FF2B5EF4-FFF2-40B4-BE49-F238E27FC236}">
                <a16:creationId xmlns:a16="http://schemas.microsoft.com/office/drawing/2014/main" id="{C25F5E9E-11DF-B122-0AA2-A9114315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347614"/>
            <a:ext cx="3162059" cy="278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91571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13235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71592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54753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306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859853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0736" y="1059582"/>
            <a:ext cx="5256584" cy="3490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5035545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</a:t>
            </a:r>
          </a:p>
        </p:txBody>
      </p:sp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2099001" y="1131590"/>
            <a:ext cx="4945997" cy="32717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9066754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A61FDCBE-0D8B-A7FF-DDBC-F6C44F8E3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2381" b="12381"/>
          <a:stretch>
            <a:fillRect/>
          </a:stretch>
        </p:blipFill>
        <p:spPr>
          <a:xfrm>
            <a:off x="5253737" y="3063691"/>
            <a:ext cx="3168352" cy="166829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BD8E28-FA4D-F537-0740-B0920A8BDBCF}"/>
              </a:ext>
            </a:extLst>
          </p:cNvPr>
          <p:cNvSpPr txBox="1"/>
          <p:nvPr/>
        </p:nvSpPr>
        <p:spPr>
          <a:xfrm>
            <a:off x="5815835" y="2478440"/>
            <a:ext cx="2044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b</a:t>
            </a:r>
            <a:r>
              <a:rPr lang="en-NL" sz="2400" b="1">
                <a:solidFill>
                  <a:schemeClr val="bg2"/>
                </a:solidFill>
              </a:rPr>
              <a:t>y Illia Lebi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149FF1-26E8-294F-5AA2-BFE9CC9E929C}"/>
              </a:ext>
            </a:extLst>
          </p:cNvPr>
          <p:cNvSpPr txBox="1"/>
          <p:nvPr/>
        </p:nvSpPr>
        <p:spPr>
          <a:xfrm>
            <a:off x="5058001" y="1164073"/>
            <a:ext cx="35598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FULL PROOF TESTING</a:t>
            </a:r>
            <a:endParaRPr lang="en-NL" sz="2400" b="1" dirty="0">
              <a:solidFill>
                <a:schemeClr val="bg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26D5F7-5C98-4C3B-EA59-3C7B54D7288B}"/>
              </a:ext>
            </a:extLst>
          </p:cNvPr>
          <p:cNvSpPr txBox="1"/>
          <p:nvPr/>
        </p:nvSpPr>
        <p:spPr>
          <a:xfrm>
            <a:off x="4859710" y="1629478"/>
            <a:ext cx="3956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A GUIDE TO STABLE APPLICATION</a:t>
            </a:r>
            <a:endParaRPr lang="en-NL">
              <a:solidFill>
                <a:schemeClr val="bg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188345-4E50-9CD3-607B-D5951B081136}"/>
              </a:ext>
            </a:extLst>
          </p:cNvPr>
          <p:cNvSpPr/>
          <p:nvPr/>
        </p:nvSpPr>
        <p:spPr>
          <a:xfrm>
            <a:off x="5058000" y="2174989"/>
            <a:ext cx="3559821" cy="3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E425D-44EC-0826-D05C-B2B8EC694B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  <p:pic>
        <p:nvPicPr>
          <p:cNvPr id="3074" name="Picture 2" descr="ABN AMRO | World Economic Forum">
            <a:extLst>
              <a:ext uri="{FF2B5EF4-FFF2-40B4-BE49-F238E27FC236}">
                <a16:creationId xmlns:a16="http://schemas.microsoft.com/office/drawing/2014/main" id="{1333D85A-FCF0-3CC7-0CFD-BD5EDADB7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3" t="32726" r="6503" b="24801"/>
          <a:stretch/>
        </p:blipFill>
        <p:spPr bwMode="auto">
          <a:xfrm>
            <a:off x="5058000" y="50332"/>
            <a:ext cx="3490050" cy="990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610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8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00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EB9AA7-EBA8-0E99-B49D-0A78BE541B2E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DA4B8C-7F22-2EBF-EEB1-EE4430F9FCD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457F0E-10A0-F0A1-F9CA-0F6C4C6A3B5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8B14A2B-4513-BBEB-9EF0-43387D9A6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89263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;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DC0BDE9-DECE-350B-2A60-14BFEF67D1DD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0EE9E37-5569-6542-9D61-0151F7EB04F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1F5FA3-6E67-3300-2ECE-F88651DA52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C846CC1C-E3DC-2ED2-23D4-88CD6E8A1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08209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-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8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F3BD1A-A7D5-16E4-8890-F422965FCE44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23323B-E360-56C3-6649-5DB368491341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3E8167-85CE-7175-5BCB-0019C93EE22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91ADE58-1ECC-87AB-7F65-9E780D682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0124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2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314909"/>
              </p:ext>
            </p:extLst>
          </p:nvPr>
        </p:nvGraphicFramePr>
        <p:xfrm>
          <a:off x="348860" y="915567"/>
          <a:ext cx="8440338" cy="387830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699355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Recap (Testing types)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10318831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cap (Testing methods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7131568-ABAE-A12B-2B5E-86865B76F791}"/>
              </a:ext>
            </a:extLst>
          </p:cNvPr>
          <p:cNvGrpSpPr/>
          <p:nvPr/>
        </p:nvGrpSpPr>
        <p:grpSpPr>
          <a:xfrm>
            <a:off x="4734124" y="657602"/>
            <a:ext cx="3888433" cy="2144065"/>
            <a:chOff x="467543" y="379784"/>
            <a:chExt cx="3888433" cy="2144065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FE811255-CA78-9D5B-3220-18CDE7504D3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19890519"/>
                </p:ext>
              </p:extLst>
            </p:nvPr>
          </p:nvGraphicFramePr>
          <p:xfrm>
            <a:off x="467543" y="699542"/>
            <a:ext cx="3888433" cy="18243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" name="Cloud 6">
              <a:extLst>
                <a:ext uri="{FF2B5EF4-FFF2-40B4-BE49-F238E27FC236}">
                  <a16:creationId xmlns:a16="http://schemas.microsoft.com/office/drawing/2014/main" id="{94773B81-1E36-9DAF-6232-E196540BCC75}"/>
                </a:ext>
              </a:extLst>
            </p:cNvPr>
            <p:cNvSpPr/>
            <p:nvPr/>
          </p:nvSpPr>
          <p:spPr>
            <a:xfrm>
              <a:off x="2007995" y="379784"/>
              <a:ext cx="807527" cy="504704"/>
            </a:xfrm>
            <a:prstGeom prst="cloud">
              <a:avLst/>
            </a:prstGeom>
            <a:solidFill>
              <a:srgbClr val="D6D6D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39A3F882-AFC5-0ACF-E9E5-2FC6C1E717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3135299"/>
            <a:ext cx="2083441" cy="1923678"/>
          </a:xfrm>
          <a:prstGeom prst="rect">
            <a:avLst/>
          </a:prstGeom>
        </p:spPr>
      </p:pic>
      <p:pic>
        <p:nvPicPr>
          <p:cNvPr id="11" name="Picture 2" descr="The Red Green Refactor of TDD - Hashnode">
            <a:extLst>
              <a:ext uri="{FF2B5EF4-FFF2-40B4-BE49-F238E27FC236}">
                <a16:creationId xmlns:a16="http://schemas.microsoft.com/office/drawing/2014/main" id="{EA1A9C73-CDFD-2C27-76FC-DF606D56D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210469"/>
            <a:ext cx="2538389" cy="16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Placeholder 31">
            <a:extLst>
              <a:ext uri="{FF2B5EF4-FFF2-40B4-BE49-F238E27FC236}">
                <a16:creationId xmlns:a16="http://schemas.microsoft.com/office/drawing/2014/main" id="{186D3B25-C8F6-2386-1AC8-344E83B2AF11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3294885" y="3210469"/>
            <a:ext cx="2548286" cy="16856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graphicFrame>
        <p:nvGraphicFramePr>
          <p:cNvPr id="13" name="Table 3">
            <a:extLst>
              <a:ext uri="{FF2B5EF4-FFF2-40B4-BE49-F238E27FC236}">
                <a16:creationId xmlns:a16="http://schemas.microsoft.com/office/drawing/2014/main" id="{A7B8A546-8F8C-D60E-4F22-946F1D6C4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571710"/>
              </p:ext>
            </p:extLst>
          </p:nvPr>
        </p:nvGraphicFramePr>
        <p:xfrm>
          <a:off x="827584" y="1170419"/>
          <a:ext cx="3215028" cy="147729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8921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1426294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399518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266393">
                <a:tc>
                  <a:txBody>
                    <a:bodyPr/>
                    <a:lstStyle/>
                    <a:p>
                      <a:r>
                        <a:rPr lang="en-NL" sz="500" dirty="0"/>
                        <a:t>Actions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 dirty="0"/>
                        <a:t>Expected result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/>
                        <a:t>Is tested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3562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do in Ideal?</a:t>
            </a:r>
          </a:p>
        </p:txBody>
      </p:sp>
      <p:sp>
        <p:nvSpPr>
          <p:cNvPr id="2" name="Pentagon 1">
            <a:extLst>
              <a:ext uri="{FF2B5EF4-FFF2-40B4-BE49-F238E27FC236}">
                <a16:creationId xmlns:a16="http://schemas.microsoft.com/office/drawing/2014/main" id="{4E8F969B-CDF7-B36F-E393-D74D335978B7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3114B0A9-B3DD-7160-4A95-ADD8E465BDE0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F56D1C2-16A4-4912-A799-BB0FE733AD4C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8EB5039F-349A-7A46-6DED-BC566250215C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00F4089-D4C0-BC2E-EB1A-ADDEDB0BE53B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CFC6BDD-EAA1-45F5-923C-729E67FDBAD6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2CDCE1C2-8106-B00F-7A80-8269D405871F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id="{5C3AB03E-F4D5-0F5A-393A-096A9BB05DC5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8466DCFC-94AE-552D-CEAB-8DAC97037498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98585D86-6260-B6F4-1B7A-4F3A2BFDBF69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CEE1DC36-64D7-6E35-5400-CACE30932BF0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665325057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do in Ideal?</a:t>
            </a:r>
          </a:p>
        </p:txBody>
      </p:sp>
      <p:sp>
        <p:nvSpPr>
          <p:cNvPr id="2" name="Pentagon 1">
            <a:extLst>
              <a:ext uri="{FF2B5EF4-FFF2-40B4-BE49-F238E27FC236}">
                <a16:creationId xmlns:a16="http://schemas.microsoft.com/office/drawing/2014/main" id="{4E8F969B-CDF7-B36F-E393-D74D335978B7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Unit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3114B0A9-B3DD-7160-4A95-ADD8E465BDE0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Functional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F56D1C2-16A4-4912-A799-BB0FE733AD4C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E2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8EB5039F-349A-7A46-6DED-BC566250215C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Performance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00F4089-D4C0-BC2E-EB1A-ADDEDB0BE53B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Mutation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CFC6BDD-EAA1-45F5-923C-729E67FDBAD6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Contracts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2CDCE1C2-8106-B00F-7A80-8269D405871F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Memory leakage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id="{5C3AB03E-F4D5-0F5A-393A-096A9BB05DC5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bg1"/>
                </a:solidFill>
              </a:rPr>
              <a:t>Snapshot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8466DCFC-94AE-552D-CEAB-8DAC97037498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Security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98585D86-6260-B6F4-1B7A-4F3A2BFDBF69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Code quality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CEE1DC36-64D7-6E35-5400-CACE30932BF0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9331443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Use in Ideal?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3203FD3-8BB9-A4F4-1D39-5903954937F2}"/>
              </a:ext>
            </a:extLst>
          </p:cNvPr>
          <p:cNvGrpSpPr/>
          <p:nvPr/>
        </p:nvGrpSpPr>
        <p:grpSpPr>
          <a:xfrm>
            <a:off x="251520" y="843558"/>
            <a:ext cx="3744416" cy="1899021"/>
            <a:chOff x="251520" y="843558"/>
            <a:chExt cx="3744416" cy="189902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D371EBB-7664-FF1D-9529-0CE856FE5F7F}"/>
                </a:ext>
              </a:extLst>
            </p:cNvPr>
            <p:cNvSpPr txBox="1"/>
            <p:nvPr/>
          </p:nvSpPr>
          <p:spPr>
            <a:xfrm>
              <a:off x="251520" y="843558"/>
              <a:ext cx="6415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Uni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8DEE05-5E0D-E1CF-91D5-5457030636E1}"/>
                </a:ext>
              </a:extLst>
            </p:cNvPr>
            <p:cNvSpPr/>
            <p:nvPr/>
          </p:nvSpPr>
          <p:spPr>
            <a:xfrm>
              <a:off x="348860" y="1243668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9CDD691-EDA6-C8F5-1063-230DF0333258}"/>
                </a:ext>
              </a:extLst>
            </p:cNvPr>
            <p:cNvGrpSpPr/>
            <p:nvPr/>
          </p:nvGrpSpPr>
          <p:grpSpPr>
            <a:xfrm>
              <a:off x="348860" y="1419127"/>
              <a:ext cx="3600000" cy="576064"/>
              <a:chOff x="368456" y="1585512"/>
              <a:chExt cx="3600000" cy="576064"/>
            </a:xfrm>
          </p:grpSpPr>
          <p:sp>
            <p:nvSpPr>
              <p:cNvPr id="23" name="Pentagon 22">
                <a:extLst>
                  <a:ext uri="{FF2B5EF4-FFF2-40B4-BE49-F238E27FC236}">
                    <a16:creationId xmlns:a16="http://schemas.microsoft.com/office/drawing/2014/main" id="{6BCF3A56-F3E3-1774-9DE1-53FEB113FD7B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Vue testing utils</a:t>
                </a:r>
              </a:p>
            </p:txBody>
          </p:sp>
          <p:pic>
            <p:nvPicPr>
              <p:cNvPr id="25" name="Picture 28" descr="Vue Test Utils | Vue Test Utils for Vue.js 3">
                <a:extLst>
                  <a:ext uri="{FF2B5EF4-FFF2-40B4-BE49-F238E27FC236}">
                    <a16:creationId xmlns:a16="http://schemas.microsoft.com/office/drawing/2014/main" id="{9696FCB3-67B4-5101-AB03-048A10691E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6876" y="1700744"/>
                <a:ext cx="416141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880B11C-4AF7-C308-8084-99E18051C4EF}"/>
                </a:ext>
              </a:extLst>
            </p:cNvPr>
            <p:cNvGrpSpPr/>
            <p:nvPr/>
          </p:nvGrpSpPr>
          <p:grpSpPr>
            <a:xfrm>
              <a:off x="348860" y="2166515"/>
              <a:ext cx="3600000" cy="576064"/>
              <a:chOff x="368456" y="1585512"/>
              <a:chExt cx="3600000" cy="576064"/>
            </a:xfrm>
          </p:grpSpPr>
          <p:sp>
            <p:nvSpPr>
              <p:cNvPr id="29" name="Pentagon 28">
                <a:extLst>
                  <a:ext uri="{FF2B5EF4-FFF2-40B4-BE49-F238E27FC236}">
                    <a16:creationId xmlns:a16="http://schemas.microsoft.com/office/drawing/2014/main" id="{EDFDEAF3-BBB0-F562-7A9E-AAAB360716EC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Jest</a:t>
                </a:r>
              </a:p>
            </p:txBody>
          </p:sp>
          <p:pic>
            <p:nvPicPr>
              <p:cNvPr id="30" name="Picture 28">
                <a:extLst>
                  <a:ext uri="{FF2B5EF4-FFF2-40B4-BE49-F238E27FC236}">
                    <a16:creationId xmlns:a16="http://schemas.microsoft.com/office/drawing/2014/main" id="{A0D7E877-A542-ADB3-D65D-6446C05B06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4503" y="1700744"/>
                <a:ext cx="360886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13D5090-3043-D0D3-3BC8-BDB18E70F0FC}"/>
              </a:ext>
            </a:extLst>
          </p:cNvPr>
          <p:cNvGrpSpPr/>
          <p:nvPr/>
        </p:nvGrpSpPr>
        <p:grpSpPr>
          <a:xfrm>
            <a:off x="251520" y="2978770"/>
            <a:ext cx="3744416" cy="1918867"/>
            <a:chOff x="251520" y="2978770"/>
            <a:chExt cx="3744416" cy="191886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72AB19B-5CD3-A714-1D29-CB286DEB172B}"/>
                </a:ext>
              </a:extLst>
            </p:cNvPr>
            <p:cNvSpPr txBox="1"/>
            <p:nvPr/>
          </p:nvSpPr>
          <p:spPr>
            <a:xfrm>
              <a:off x="251520" y="2978770"/>
              <a:ext cx="206659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Functional / E2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C71696D-F6AA-CDB1-36D4-FCA1BD24CD77}"/>
                </a:ext>
              </a:extLst>
            </p:cNvPr>
            <p:cNvSpPr/>
            <p:nvPr/>
          </p:nvSpPr>
          <p:spPr>
            <a:xfrm>
              <a:off x="348860" y="3378880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22DEC28-8AF3-710A-3495-F46CCC1F0360}"/>
                </a:ext>
              </a:extLst>
            </p:cNvPr>
            <p:cNvGrpSpPr/>
            <p:nvPr/>
          </p:nvGrpSpPr>
          <p:grpSpPr>
            <a:xfrm>
              <a:off x="348860" y="3573381"/>
              <a:ext cx="3600000" cy="576064"/>
              <a:chOff x="368456" y="1585512"/>
              <a:chExt cx="3600000" cy="576064"/>
            </a:xfrm>
          </p:grpSpPr>
          <p:sp>
            <p:nvSpPr>
              <p:cNvPr id="36" name="Pentagon 35">
                <a:extLst>
                  <a:ext uri="{FF2B5EF4-FFF2-40B4-BE49-F238E27FC236}">
                    <a16:creationId xmlns:a16="http://schemas.microsoft.com/office/drawing/2014/main" id="{8277340A-5BED-3F4B-6774-40DB390AC180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Testcafe</a:t>
                </a:r>
              </a:p>
            </p:txBody>
          </p:sp>
          <p:pic>
            <p:nvPicPr>
              <p:cNvPr id="37" name="Picture 28">
                <a:extLst>
                  <a:ext uri="{FF2B5EF4-FFF2-40B4-BE49-F238E27FC236}">
                    <a16:creationId xmlns:a16="http://schemas.microsoft.com/office/drawing/2014/main" id="{82065345-79E3-9A9E-4C40-9C655CCE9A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9130" y="1700744"/>
                <a:ext cx="351632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7AF9B91-D657-965E-9C3C-7FCAECA1D6A5}"/>
                </a:ext>
              </a:extLst>
            </p:cNvPr>
            <p:cNvGrpSpPr/>
            <p:nvPr/>
          </p:nvGrpSpPr>
          <p:grpSpPr>
            <a:xfrm>
              <a:off x="348860" y="4321573"/>
              <a:ext cx="3600000" cy="576064"/>
              <a:chOff x="368456" y="1585512"/>
              <a:chExt cx="3600000" cy="576064"/>
            </a:xfrm>
          </p:grpSpPr>
          <p:sp>
            <p:nvSpPr>
              <p:cNvPr id="39" name="Pentagon 38">
                <a:extLst>
                  <a:ext uri="{FF2B5EF4-FFF2-40B4-BE49-F238E27FC236}">
                    <a16:creationId xmlns:a16="http://schemas.microsoft.com/office/drawing/2014/main" id="{F5A10169-31D6-DCCD-1E56-21CFE2159AFE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SauceLabs</a:t>
                </a:r>
              </a:p>
            </p:txBody>
          </p:sp>
          <p:pic>
            <p:nvPicPr>
              <p:cNvPr id="40" name="Picture 28">
                <a:extLst>
                  <a:ext uri="{FF2B5EF4-FFF2-40B4-BE49-F238E27FC236}">
                    <a16:creationId xmlns:a16="http://schemas.microsoft.com/office/drawing/2014/main" id="{6A861775-7101-51ED-4289-E3977CAF60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9971" y="1700744"/>
                <a:ext cx="349950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B4718E2-C780-EA52-7C28-DC96DDB12A3E}"/>
              </a:ext>
            </a:extLst>
          </p:cNvPr>
          <p:cNvGrpSpPr/>
          <p:nvPr/>
        </p:nvGrpSpPr>
        <p:grpSpPr>
          <a:xfrm>
            <a:off x="4989940" y="843558"/>
            <a:ext cx="3744416" cy="1899021"/>
            <a:chOff x="4989940" y="843558"/>
            <a:chExt cx="3744416" cy="1899021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5C7868-4792-1E0B-D4A5-3869AAF2350D}"/>
                </a:ext>
              </a:extLst>
            </p:cNvPr>
            <p:cNvSpPr txBox="1"/>
            <p:nvPr/>
          </p:nvSpPr>
          <p:spPr>
            <a:xfrm>
              <a:off x="4989940" y="843558"/>
              <a:ext cx="15840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Accessibility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EFC494E-2FE5-EAF9-77F3-C58D05452C83}"/>
                </a:ext>
              </a:extLst>
            </p:cNvPr>
            <p:cNvSpPr/>
            <p:nvPr/>
          </p:nvSpPr>
          <p:spPr>
            <a:xfrm>
              <a:off x="5087280" y="1243668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63C88EA-41AD-968D-465B-BD479A8956B2}"/>
                </a:ext>
              </a:extLst>
            </p:cNvPr>
            <p:cNvGrpSpPr/>
            <p:nvPr/>
          </p:nvGrpSpPr>
          <p:grpSpPr>
            <a:xfrm>
              <a:off x="5087280" y="1419127"/>
              <a:ext cx="3600000" cy="576064"/>
              <a:chOff x="368456" y="1585512"/>
              <a:chExt cx="3600000" cy="576064"/>
            </a:xfrm>
          </p:grpSpPr>
          <p:sp>
            <p:nvSpPr>
              <p:cNvPr id="44" name="Pentagon 43">
                <a:extLst>
                  <a:ext uri="{FF2B5EF4-FFF2-40B4-BE49-F238E27FC236}">
                    <a16:creationId xmlns:a16="http://schemas.microsoft.com/office/drawing/2014/main" id="{1D739FA2-1F27-8C89-02C1-C060ED66DDC4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Axe deque</a:t>
                </a:r>
              </a:p>
            </p:txBody>
          </p:sp>
          <p:pic>
            <p:nvPicPr>
              <p:cNvPr id="45" name="Picture 28">
                <a:extLst>
                  <a:ext uri="{FF2B5EF4-FFF2-40B4-BE49-F238E27FC236}">
                    <a16:creationId xmlns:a16="http://schemas.microsoft.com/office/drawing/2014/main" id="{6A808CDE-F4C0-4E21-2EA3-FE78834D7F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204967" y="1719516"/>
                <a:ext cx="360886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1DE5856-E5CB-2B97-12A7-CBA5DB4AF8A0}"/>
                </a:ext>
              </a:extLst>
            </p:cNvPr>
            <p:cNvGrpSpPr/>
            <p:nvPr/>
          </p:nvGrpSpPr>
          <p:grpSpPr>
            <a:xfrm>
              <a:off x="5087280" y="2166515"/>
              <a:ext cx="3600000" cy="576064"/>
              <a:chOff x="368456" y="1585512"/>
              <a:chExt cx="3600000" cy="576064"/>
            </a:xfrm>
          </p:grpSpPr>
          <p:sp>
            <p:nvSpPr>
              <p:cNvPr id="47" name="Pentagon 46">
                <a:extLst>
                  <a:ext uri="{FF2B5EF4-FFF2-40B4-BE49-F238E27FC236}">
                    <a16:creationId xmlns:a16="http://schemas.microsoft.com/office/drawing/2014/main" id="{503531BE-21F1-4731-AD68-677462ADE224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Google lighthouse</a:t>
                </a:r>
              </a:p>
            </p:txBody>
          </p:sp>
          <p:pic>
            <p:nvPicPr>
              <p:cNvPr id="48" name="Picture 28">
                <a:extLst>
                  <a:ext uri="{FF2B5EF4-FFF2-40B4-BE49-F238E27FC236}">
                    <a16:creationId xmlns:a16="http://schemas.microsoft.com/office/drawing/2014/main" id="{3710D3EF-6E94-C22B-563C-2645A973CD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029213" y="1670921"/>
                <a:ext cx="712395" cy="3777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1BFF1EB-FFF1-EB9A-CF7D-F43E67C2AD78}"/>
              </a:ext>
            </a:extLst>
          </p:cNvPr>
          <p:cNvGrpSpPr/>
          <p:nvPr/>
        </p:nvGrpSpPr>
        <p:grpSpPr>
          <a:xfrm>
            <a:off x="4965780" y="2976985"/>
            <a:ext cx="3744416" cy="1172460"/>
            <a:chOff x="4965780" y="2976985"/>
            <a:chExt cx="3744416" cy="1172460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7DA6FDE-D21E-090E-2EDF-E0771AF9BB37}"/>
                </a:ext>
              </a:extLst>
            </p:cNvPr>
            <p:cNvSpPr txBox="1"/>
            <p:nvPr/>
          </p:nvSpPr>
          <p:spPr>
            <a:xfrm>
              <a:off x="4965780" y="2976985"/>
              <a:ext cx="165141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Performance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C44068F-6BE2-A5D4-A826-96BABC5A358B}"/>
                </a:ext>
              </a:extLst>
            </p:cNvPr>
            <p:cNvSpPr/>
            <p:nvPr/>
          </p:nvSpPr>
          <p:spPr>
            <a:xfrm>
              <a:off x="5063120" y="3377095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FB42C06-237B-C68F-B394-21282DE2E921}"/>
                </a:ext>
              </a:extLst>
            </p:cNvPr>
            <p:cNvGrpSpPr/>
            <p:nvPr/>
          </p:nvGrpSpPr>
          <p:grpSpPr>
            <a:xfrm>
              <a:off x="5063120" y="3573381"/>
              <a:ext cx="3600000" cy="576064"/>
              <a:chOff x="368456" y="1585512"/>
              <a:chExt cx="3600000" cy="576064"/>
            </a:xfrm>
          </p:grpSpPr>
          <p:sp>
            <p:nvSpPr>
              <p:cNvPr id="55" name="Pentagon 54">
                <a:extLst>
                  <a:ext uri="{FF2B5EF4-FFF2-40B4-BE49-F238E27FC236}">
                    <a16:creationId xmlns:a16="http://schemas.microsoft.com/office/drawing/2014/main" id="{FFA21D35-CBE2-AEA6-88AA-7542FF097F92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Google lighthouse</a:t>
                </a:r>
              </a:p>
            </p:txBody>
          </p:sp>
          <p:pic>
            <p:nvPicPr>
              <p:cNvPr id="56" name="Picture 28">
                <a:extLst>
                  <a:ext uri="{FF2B5EF4-FFF2-40B4-BE49-F238E27FC236}">
                    <a16:creationId xmlns:a16="http://schemas.microsoft.com/office/drawing/2014/main" id="{51EAA9DF-402C-985E-CD2A-9DA7B7ED1F5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082766" y="1697609"/>
                <a:ext cx="683002" cy="3621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5578002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Use in Ideal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13D5090-3043-D0D3-3BC8-BDB18E70F0FC}"/>
              </a:ext>
            </a:extLst>
          </p:cNvPr>
          <p:cNvGrpSpPr/>
          <p:nvPr/>
        </p:nvGrpSpPr>
        <p:grpSpPr>
          <a:xfrm>
            <a:off x="251520" y="2978770"/>
            <a:ext cx="3744416" cy="1918867"/>
            <a:chOff x="251520" y="2978770"/>
            <a:chExt cx="3744416" cy="191886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72AB19B-5CD3-A714-1D29-CB286DEB172B}"/>
                </a:ext>
              </a:extLst>
            </p:cNvPr>
            <p:cNvSpPr txBox="1"/>
            <p:nvPr/>
          </p:nvSpPr>
          <p:spPr>
            <a:xfrm>
              <a:off x="251520" y="2978770"/>
              <a:ext cx="16113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Code quality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C71696D-F6AA-CDB1-36D4-FCA1BD24CD77}"/>
                </a:ext>
              </a:extLst>
            </p:cNvPr>
            <p:cNvSpPr/>
            <p:nvPr/>
          </p:nvSpPr>
          <p:spPr>
            <a:xfrm>
              <a:off x="348860" y="3378880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22DEC28-8AF3-710A-3495-F46CCC1F0360}"/>
                </a:ext>
              </a:extLst>
            </p:cNvPr>
            <p:cNvGrpSpPr/>
            <p:nvPr/>
          </p:nvGrpSpPr>
          <p:grpSpPr>
            <a:xfrm>
              <a:off x="348860" y="3573381"/>
              <a:ext cx="3600000" cy="576064"/>
              <a:chOff x="368456" y="1585512"/>
              <a:chExt cx="3600000" cy="576064"/>
            </a:xfrm>
          </p:grpSpPr>
          <p:sp>
            <p:nvSpPr>
              <p:cNvPr id="36" name="Pentagon 35">
                <a:extLst>
                  <a:ext uri="{FF2B5EF4-FFF2-40B4-BE49-F238E27FC236}">
                    <a16:creationId xmlns:a16="http://schemas.microsoft.com/office/drawing/2014/main" id="{8277340A-5BED-3F4B-6774-40DB390AC180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Eslint</a:t>
                </a:r>
              </a:p>
            </p:txBody>
          </p:sp>
          <p:pic>
            <p:nvPicPr>
              <p:cNvPr id="37" name="Picture 28">
                <a:extLst>
                  <a:ext uri="{FF2B5EF4-FFF2-40B4-BE49-F238E27FC236}">
                    <a16:creationId xmlns:a16="http://schemas.microsoft.com/office/drawing/2014/main" id="{82065345-79E3-9A9E-4C40-9C655CCE9A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9130" y="1725815"/>
                <a:ext cx="351632" cy="3107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7AF9B91-D657-965E-9C3C-7FCAECA1D6A5}"/>
                </a:ext>
              </a:extLst>
            </p:cNvPr>
            <p:cNvGrpSpPr/>
            <p:nvPr/>
          </p:nvGrpSpPr>
          <p:grpSpPr>
            <a:xfrm>
              <a:off x="348860" y="4321573"/>
              <a:ext cx="3600000" cy="576064"/>
              <a:chOff x="368456" y="1585512"/>
              <a:chExt cx="3600000" cy="576064"/>
            </a:xfrm>
          </p:grpSpPr>
          <p:sp>
            <p:nvSpPr>
              <p:cNvPr id="39" name="Pentagon 38">
                <a:extLst>
                  <a:ext uri="{FF2B5EF4-FFF2-40B4-BE49-F238E27FC236}">
                    <a16:creationId xmlns:a16="http://schemas.microsoft.com/office/drawing/2014/main" id="{F5A10169-31D6-DCCD-1E56-21CFE2159AFE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SonarQube</a:t>
                </a:r>
              </a:p>
            </p:txBody>
          </p:sp>
          <p:pic>
            <p:nvPicPr>
              <p:cNvPr id="40" name="Picture 28">
                <a:extLst>
                  <a:ext uri="{FF2B5EF4-FFF2-40B4-BE49-F238E27FC236}">
                    <a16:creationId xmlns:a16="http://schemas.microsoft.com/office/drawing/2014/main" id="{6A861775-7101-51ED-4289-E3977CAF60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 bwMode="auto">
              <a:xfrm>
                <a:off x="3339971" y="1709229"/>
                <a:ext cx="349950" cy="3439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551DC97-C7CA-FEF6-7E9B-55434C782A53}"/>
              </a:ext>
            </a:extLst>
          </p:cNvPr>
          <p:cNvGrpSpPr/>
          <p:nvPr/>
        </p:nvGrpSpPr>
        <p:grpSpPr>
          <a:xfrm>
            <a:off x="251520" y="843558"/>
            <a:ext cx="3744416" cy="1901265"/>
            <a:chOff x="251520" y="843558"/>
            <a:chExt cx="3744416" cy="190126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3203FD3-8BB9-A4F4-1D39-5903954937F2}"/>
                </a:ext>
              </a:extLst>
            </p:cNvPr>
            <p:cNvGrpSpPr/>
            <p:nvPr/>
          </p:nvGrpSpPr>
          <p:grpSpPr>
            <a:xfrm>
              <a:off x="251520" y="843558"/>
              <a:ext cx="3744416" cy="457076"/>
              <a:chOff x="251520" y="843558"/>
              <a:chExt cx="3744416" cy="457076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371EBB-7664-FF1D-9529-0CE856FE5F7F}"/>
                  </a:ext>
                </a:extLst>
              </p:cNvPr>
              <p:cNvSpPr txBox="1"/>
              <p:nvPr/>
            </p:nvSpPr>
            <p:spPr>
              <a:xfrm>
                <a:off x="251520" y="843558"/>
                <a:ext cx="111120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NL" sz="2000" dirty="0">
                    <a:solidFill>
                      <a:schemeClr val="bg2"/>
                    </a:solidFill>
                  </a:rPr>
                  <a:t>Security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98DEE05-5E0D-E1CF-91D5-5457030636E1}"/>
                  </a:ext>
                </a:extLst>
              </p:cNvPr>
              <p:cNvSpPr/>
              <p:nvPr/>
            </p:nvSpPr>
            <p:spPr>
              <a:xfrm>
                <a:off x="348860" y="1243668"/>
                <a:ext cx="3647076" cy="56966"/>
              </a:xfrm>
              <a:prstGeom prst="rect">
                <a:avLst/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  <p:pic>
          <p:nvPicPr>
            <p:cNvPr id="6" name="Picture 5" descr="Green question mark">
              <a:extLst>
                <a:ext uri="{FF2B5EF4-FFF2-40B4-BE49-F238E27FC236}">
                  <a16:creationId xmlns:a16="http://schemas.microsoft.com/office/drawing/2014/main" id="{D53F0A8F-4FC0-42F2-5157-B21E1BD61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860" y="1457456"/>
              <a:ext cx="2206916" cy="12873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9818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FECAC-E406-FE83-C429-3462E0E52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Unit, functional, e2e, contracts tests</a:t>
            </a:r>
          </a:p>
        </p:txBody>
      </p:sp>
    </p:spTree>
    <p:extLst>
      <p:ext uri="{BB962C8B-B14F-4D97-AF65-F5344CB8AC3E}">
        <p14:creationId xmlns:p14="http://schemas.microsoft.com/office/powerpoint/2010/main" val="3379690736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use in </a:t>
            </a:r>
            <a:r>
              <a:rPr lang="en-US" dirty="0" err="1"/>
              <a:t>iDeal</a:t>
            </a:r>
            <a:r>
              <a:rPr lang="en-US" dirty="0"/>
              <a:t>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7131568-ABAE-A12B-2B5E-86865B76F791}"/>
              </a:ext>
            </a:extLst>
          </p:cNvPr>
          <p:cNvGrpSpPr/>
          <p:nvPr/>
        </p:nvGrpSpPr>
        <p:grpSpPr>
          <a:xfrm>
            <a:off x="4734124" y="657602"/>
            <a:ext cx="3888433" cy="2144065"/>
            <a:chOff x="467543" y="379784"/>
            <a:chExt cx="3888433" cy="2144065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FE811255-CA78-9D5B-3220-18CDE7504D35}"/>
                </a:ext>
              </a:extLst>
            </p:cNvPr>
            <p:cNvGraphicFramePr/>
            <p:nvPr/>
          </p:nvGraphicFramePr>
          <p:xfrm>
            <a:off x="467543" y="699542"/>
            <a:ext cx="3888433" cy="18243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" name="Cloud 6">
              <a:extLst>
                <a:ext uri="{FF2B5EF4-FFF2-40B4-BE49-F238E27FC236}">
                  <a16:creationId xmlns:a16="http://schemas.microsoft.com/office/drawing/2014/main" id="{94773B81-1E36-9DAF-6232-E196540BCC75}"/>
                </a:ext>
              </a:extLst>
            </p:cNvPr>
            <p:cNvSpPr/>
            <p:nvPr/>
          </p:nvSpPr>
          <p:spPr>
            <a:xfrm>
              <a:off x="2007995" y="379784"/>
              <a:ext cx="807527" cy="504704"/>
            </a:xfrm>
            <a:prstGeom prst="cloud">
              <a:avLst/>
            </a:prstGeom>
            <a:solidFill>
              <a:srgbClr val="D6D6D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39A3F882-AFC5-0ACF-E9E5-2FC6C1E717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3135299"/>
            <a:ext cx="2083441" cy="1923678"/>
          </a:xfrm>
          <a:prstGeom prst="rect">
            <a:avLst/>
          </a:prstGeom>
        </p:spPr>
      </p:pic>
      <p:pic>
        <p:nvPicPr>
          <p:cNvPr id="11" name="Picture 2" descr="The Red Green Refactor of TDD - Hashnode">
            <a:extLst>
              <a:ext uri="{FF2B5EF4-FFF2-40B4-BE49-F238E27FC236}">
                <a16:creationId xmlns:a16="http://schemas.microsoft.com/office/drawing/2014/main" id="{EA1A9C73-CDFD-2C27-76FC-DF606D56D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210469"/>
            <a:ext cx="2538389" cy="16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Placeholder 31">
            <a:extLst>
              <a:ext uri="{FF2B5EF4-FFF2-40B4-BE49-F238E27FC236}">
                <a16:creationId xmlns:a16="http://schemas.microsoft.com/office/drawing/2014/main" id="{186D3B25-C8F6-2386-1AC8-344E83B2AF11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3294885" y="3210469"/>
            <a:ext cx="2548286" cy="16856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graphicFrame>
        <p:nvGraphicFramePr>
          <p:cNvPr id="13" name="Table 3">
            <a:extLst>
              <a:ext uri="{FF2B5EF4-FFF2-40B4-BE49-F238E27FC236}">
                <a16:creationId xmlns:a16="http://schemas.microsoft.com/office/drawing/2014/main" id="{A7B8A546-8F8C-D60E-4F22-946F1D6C48CA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1170419"/>
          <a:ext cx="3215028" cy="147729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8921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1426294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399518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266393">
                <a:tc>
                  <a:txBody>
                    <a:bodyPr/>
                    <a:lstStyle/>
                    <a:p>
                      <a:r>
                        <a:rPr lang="en-NL" sz="500" dirty="0"/>
                        <a:t>Actions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 dirty="0"/>
                        <a:t>Expected result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/>
                        <a:t>Is tested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9019107"/>
      </p:ext>
    </p:extLst>
  </p:cSld>
  <p:clrMapOvr>
    <a:masterClrMapping/>
  </p:clrMapOvr>
  <p:transition spd="slow">
    <p:push dir="u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Q&amp;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6530" y="1615992"/>
            <a:ext cx="3177878" cy="317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sz="2300" dirty="0"/>
              <a:t>Unit</a:t>
            </a:r>
            <a:r>
              <a:rPr lang="en-NL" dirty="0"/>
              <a:t>, </a:t>
            </a:r>
            <a:r>
              <a:rPr lang="en-NL" b="0" dirty="0"/>
              <a:t>functional, e2e, contracts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A5DBA2-C0D1-E027-D0F9-88F764416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</a:t>
            </a:r>
            <a:r>
              <a:rPr lang="en-NL" sz="2400" dirty="0"/>
              <a:t>functional</a:t>
            </a:r>
            <a:r>
              <a:rPr lang="en-NL" b="0" dirty="0"/>
              <a:t>, e2e, contracts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CEB60C-6897-C65E-54E2-3A2E6AA10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</a:t>
            </a:r>
            <a:r>
              <a:rPr lang="en-NL" sz="2400" dirty="0"/>
              <a:t>e2e</a:t>
            </a:r>
            <a:r>
              <a:rPr lang="en-NL" b="0" dirty="0"/>
              <a:t>, contracts tes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5A3409-BA3E-4F99-99B8-CA4657245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7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e2e, </a:t>
            </a:r>
            <a:r>
              <a:rPr lang="en-NL" sz="2400" dirty="0"/>
              <a:t>contracts </a:t>
            </a:r>
            <a:r>
              <a:rPr lang="en-NL" b="0" dirty="0"/>
              <a:t>tes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C87755-38B1-9BE0-D630-20F0E53C3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C51916-87AC-4A9B-A959-3350DB9B11FB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962d9db-3d13-45f0-8a7d-4953e14385ca"/>
    <ds:schemaRef ds:uri="53dbb911-c30a-421f-b09c-09dd51c662b7"/>
  </ds:schemaRefs>
</ds:datastoreItem>
</file>

<file path=customXml/itemProps3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684</TotalTime>
  <Words>1908</Words>
  <Application>Microsoft Macintosh PowerPoint</Application>
  <PresentationFormat>On-screen Show (16:9)</PresentationFormat>
  <Paragraphs>468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0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27</cp:revision>
  <dcterms:created xsi:type="dcterms:W3CDTF">2018-08-28T11:37:56Z</dcterms:created>
  <dcterms:modified xsi:type="dcterms:W3CDTF">2023-10-23T07:1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